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3"/>
  </p:notesMasterIdLst>
  <p:sldIdLst>
    <p:sldId id="353" r:id="rId2"/>
  </p:sldIdLst>
  <p:sldSz cx="9144000" cy="5143500" type="screen16x9"/>
  <p:notesSz cx="6858000" cy="9144000"/>
  <p:defaultTextStyle>
    <a:defPPr>
      <a:defRPr lang="en-US"/>
    </a:defPPr>
    <a:lvl1pPr marL="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90B8F4"/>
    <a:srgbClr val="A8C8F6"/>
    <a:srgbClr val="FF3700"/>
    <a:srgbClr val="0099FF"/>
    <a:srgbClr val="9BD4FF"/>
    <a:srgbClr val="85CBFF"/>
    <a:srgbClr val="1111D5"/>
    <a:srgbClr val="696969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54" autoAdjust="0"/>
    <p:restoredTop sz="94660"/>
  </p:normalViewPr>
  <p:slideViewPr>
    <p:cSldViewPr snapToGrid="0" showGuides="1">
      <p:cViewPr varScale="1">
        <p:scale>
          <a:sx n="97" d="100"/>
          <a:sy n="97" d="100"/>
        </p:scale>
        <p:origin x="120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15FB2C-D0D5-49A9-98F1-925E2C0F6A9D}" type="datetimeFigureOut">
              <a:rPr lang="en-GB" smtClean="0"/>
              <a:t>11/11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AC812A-DEDA-4792-8F26-E53EDDBE7E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8300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307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DE65D08B-79C9-485D-A876-9F63BA201D0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D7F194B-4125-45EA-9042-E9682F3378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5030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53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100" y="270000"/>
            <a:ext cx="8514009" cy="51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1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5101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4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0269937-71BB-431E-9FD6-143D300E3E8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54D18F0B-AD1B-4280-9391-E43F6EE6E20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F61CD0A1-F5EF-454F-91DF-8A01F4A3E7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1F8FFF5C-1BC2-8D4B-85B4-42B048AB0E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839576AB-B6C8-0848-97E2-44017EC4E3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942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11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4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0C06F53-3CC1-4031-A3A6-25EFE8BFF45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05991" y="945000"/>
            <a:ext cx="4050000" cy="3510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DE3679C8-D7F6-42B6-A820-69300FFA830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C89FDE3E-96D4-4AD1-9713-69A9346A808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4849DF84-F6E7-4FC4-BE68-958DE9AB19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09E86CD-F177-9C47-B9E0-ED1CACFA12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4567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11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4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B9A679CA-26BE-4AEB-AE86-9549F8207E2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D92FE2F2-12F1-48D8-B264-6B2C7808A9F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676097A1-4426-4925-8ED0-37212128E6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0499720-C445-D94C-A2E8-033061F5E06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05991" y="945000"/>
            <a:ext cx="4050000" cy="3510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C93D6FB-A976-0D42-A7E1-B7FC0FEC77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46ECE55-60D8-1D42-B1F2-A7147B7F66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019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11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6E4E9AD-2161-43DE-9632-5D104F87BD7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770000" y="945000"/>
            <a:ext cx="4050000" cy="30780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1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5101" y="1539000"/>
            <a:ext cx="4049687" cy="2484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50ABBE-577D-4E00-9DB0-45362722D6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5991" y="4131000"/>
            <a:ext cx="8514009" cy="310500"/>
          </a:xfrm>
          <a:solidFill>
            <a:schemeClr val="accent6"/>
          </a:solidFill>
        </p:spPr>
        <p:txBody>
          <a:bodyPr lIns="90000" rIns="90000" anchor="ctr"/>
          <a:lstStyle>
            <a:lvl1pPr marL="563" indent="0">
              <a:buNone/>
              <a:defRPr sz="1200" b="1">
                <a:solidFill>
                  <a:schemeClr val="tx1"/>
                </a:solidFill>
              </a:defRPr>
            </a:lvl1pPr>
            <a:lvl2pPr marL="201403" indent="0">
              <a:buNone/>
              <a:defRPr sz="1200" b="1">
                <a:solidFill>
                  <a:schemeClr val="bg1"/>
                </a:solidFill>
              </a:defRPr>
            </a:lvl2pPr>
            <a:lvl3pPr marL="408384" indent="0">
              <a:buNone/>
              <a:defRPr sz="1200" b="1">
                <a:solidFill>
                  <a:schemeClr val="bg1"/>
                </a:solidFill>
              </a:defRPr>
            </a:lvl3pPr>
            <a:lvl4pPr marL="608410" indent="0">
              <a:buNone/>
              <a:defRPr sz="1200" b="1">
                <a:solidFill>
                  <a:schemeClr val="bg1"/>
                </a:solidFill>
              </a:defRPr>
            </a:lvl4pPr>
            <a:lvl5pPr marL="8120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899AAB31-0C28-4F5C-8211-6792AD6BAEB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73E5C5B2-229A-4AE8-80AE-98482FD2930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CD79415E-1EEA-4ABA-9894-961154D561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3261DD9-017C-BC45-B9E9-4A289EB4EE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89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53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Diagram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6E4E9AD-2161-43DE-9632-5D104F87BD7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770000" y="945000"/>
            <a:ext cx="4050000" cy="307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6305" y="1539000"/>
            <a:ext cx="4049687" cy="2484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50ABBE-577D-4E00-9DB0-45362722D6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5991" y="4131000"/>
            <a:ext cx="8514009" cy="310500"/>
          </a:xfrm>
          <a:solidFill>
            <a:schemeClr val="accent6"/>
          </a:solidFill>
        </p:spPr>
        <p:txBody>
          <a:bodyPr lIns="90000" rIns="90000" anchor="ctr"/>
          <a:lstStyle>
            <a:lvl1pPr marL="563" indent="0">
              <a:buNone/>
              <a:defRPr sz="1200" b="1">
                <a:solidFill>
                  <a:schemeClr val="tx1"/>
                </a:solidFill>
              </a:defRPr>
            </a:lvl1pPr>
            <a:lvl2pPr marL="201403" indent="0">
              <a:buNone/>
              <a:defRPr sz="1200" b="1">
                <a:solidFill>
                  <a:schemeClr val="bg1"/>
                </a:solidFill>
              </a:defRPr>
            </a:lvl2pPr>
            <a:lvl3pPr marL="408384" indent="0">
              <a:buNone/>
              <a:defRPr sz="1200" b="1">
                <a:solidFill>
                  <a:schemeClr val="bg1"/>
                </a:solidFill>
              </a:defRPr>
            </a:lvl3pPr>
            <a:lvl4pPr marL="608410" indent="0">
              <a:buNone/>
              <a:defRPr sz="1200" b="1">
                <a:solidFill>
                  <a:schemeClr val="bg1"/>
                </a:solidFill>
              </a:defRPr>
            </a:lvl4pPr>
            <a:lvl5pPr marL="8120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Rectangle 6">
            <a:extLst>
              <a:ext uri="{FF2B5EF4-FFF2-40B4-BE49-F238E27FC236}">
                <a16:creationId xmlns:a16="http://schemas.microsoft.com/office/drawing/2014/main" id="{373669A0-0EBD-4456-867A-A9328E82891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01D65FF6-D640-4BF1-BF72-8E43AE10D45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E6EF7406-C576-4848-97C7-AAA7FC1757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C582A0E-9430-634A-9419-DFBA800AEC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A29E133-93B4-2F44-87CD-5B71EE62D0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92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39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FD5AA67F-D774-4717-932C-F0B29822B90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FBA5458A-D52A-4182-9D4F-B733461BD03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B4092C3-EE46-4DDC-9B63-41F7B0856C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A7F938-8874-D547-8D0E-7CDD13CA79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2819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A284587B-1CDA-4876-A793-514BF8C6E91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A34C3E2D-DFBD-4199-9925-A48E0A0840B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853F276A-A474-4D15-B610-649F7439CF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D49E691-BB78-AD4F-9E18-1D3065F2A3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4077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C864E540-FF59-4025-8314-E98F695F930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A6C897A3-6BB6-4DE3-A141-15C36C89E8F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1B1DC07-E33B-4ABF-8144-061A20796F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988E372-5EE9-7642-AB53-E7282EA4FF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DCA48CE-0CC7-7246-AC4A-F253A445FC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30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31D130F5-5749-41B7-83E7-606999E8164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CDEA80CA-6343-47F9-8111-C0231C91CB7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B6BF80E-F726-4844-9E12-485EE1B551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5062487-7D01-E446-ABAA-916EA77702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D7CC6F3-F341-3943-BBB4-4F6FB87458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489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2828" userDrawn="1">
          <p15:clr>
            <a:srgbClr val="FBAE40"/>
          </p15:clr>
        </p15:guide>
        <p15:guide id="4" orient="horz" pos="59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1350000"/>
            <a:ext cx="8514009" cy="2862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83CBA1-C6E0-4CB0-8A5A-295EFEC83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5991" y="945000"/>
            <a:ext cx="8514009" cy="243000"/>
          </a:xfrm>
        </p:spPr>
        <p:txBody>
          <a:bodyPr/>
          <a:lstStyle>
            <a:lvl1pPr marL="563" indent="0">
              <a:buNone/>
              <a:defRPr sz="1000"/>
            </a:lvl1pPr>
            <a:lvl2pPr marL="201403" indent="0">
              <a:buNone/>
              <a:defRPr/>
            </a:lvl2pPr>
            <a:lvl3pPr marL="408384" indent="0">
              <a:buNone/>
              <a:defRPr/>
            </a:lvl3pPr>
            <a:lvl4pPr marL="608410" indent="0">
              <a:buNone/>
              <a:defRPr/>
            </a:lvl4pPr>
            <a:lvl5pPr marL="812006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0F33A73F-A895-4C94-95A9-FA03D023DC8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C3854CEC-8BEC-4939-A1B8-8CF31401923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89176665-5609-4739-99EF-C6DD9E6EEB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2714CB-08FE-0E43-B4B6-AF59CE0D60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1600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51" userDrawn="1">
          <p15:clr>
            <a:srgbClr val="FBAE40"/>
          </p15:clr>
        </p15:guide>
        <p15:guide id="3" orient="horz" pos="583" userDrawn="1">
          <p15:clr>
            <a:srgbClr val="FBAE40"/>
          </p15:clr>
        </p15:guide>
        <p15:guide id="4" orient="horz" pos="265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307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5703CFA7-A538-4501-859A-21256EBD78A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87C43110-7893-4132-8872-7964F9A4CE7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AA44342B-3089-4622-91B7-14FDB45E49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E5E5C279-D9D3-4F4D-A16B-830F2086E5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60D11CD-153A-014B-8473-9D9528003D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291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orient="horz" pos="2539" userDrawn="1">
          <p15:clr>
            <a:srgbClr val="FBAE40"/>
          </p15:clr>
        </p15:guide>
        <p15:guide id="4" pos="193" userDrawn="1">
          <p15:clr>
            <a:srgbClr val="FBAE40"/>
          </p15:clr>
        </p15:guide>
        <p15:guide id="5" pos="5567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1350000"/>
            <a:ext cx="8514009" cy="2862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83CBA1-C6E0-4CB0-8A5A-295EFEC83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5991" y="945000"/>
            <a:ext cx="8514009" cy="243000"/>
          </a:xfrm>
        </p:spPr>
        <p:txBody>
          <a:bodyPr/>
          <a:lstStyle>
            <a:lvl1pPr marL="563" indent="0">
              <a:buNone/>
              <a:defRPr sz="1000"/>
            </a:lvl1pPr>
            <a:lvl2pPr marL="201403" indent="0">
              <a:buNone/>
              <a:defRPr/>
            </a:lvl2pPr>
            <a:lvl3pPr marL="408384" indent="0">
              <a:buNone/>
              <a:defRPr/>
            </a:lvl3pPr>
            <a:lvl4pPr marL="608410" indent="0">
              <a:buNone/>
              <a:defRPr/>
            </a:lvl4pPr>
            <a:lvl5pPr marL="812006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81CF5AC5-B762-40BA-8D84-8B53B1913B7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19275034-B9ED-4823-909A-12B30A9F76D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88FE6AD-0E6A-4DFF-968C-8FA51A583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CE05C8B-8078-CA41-9702-0441C6AE5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582F237-FB01-4B47-8BC9-C65B951971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525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657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pos="193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5AC73C6-6E18-46C5-88C8-50B136E794A2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06305" y="945356"/>
            <a:ext cx="8531705" cy="3267075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A0C41700-2D2A-45F9-9EDA-9C15BE259D2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F9146766-47FE-4CE2-AE7C-090A18DDE4A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0BDAAD77-6F4E-44AE-B736-747FA11E60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5036206-DB40-0946-90A7-F57B72D471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0251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657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5AC73C6-6E18-46C5-88C8-50B136E794A2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05991" y="945356"/>
            <a:ext cx="8514160" cy="3267075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674" y="270000"/>
            <a:ext cx="8514326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EC811AB3-08A2-42D8-BAD1-10F430F806C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101D9CA6-E7A6-4F8E-BCDC-92FD8C517F81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51CFB748-A719-4D85-A6DD-3352DA8AD6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4FCE512-B788-2743-B24C-33F98E72A0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0632BB2-6CFF-5A4D-A38F-68125D8B47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019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orient="horz" pos="2657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FF7CB893-ACDD-4BB0-BC38-42EE020F3CA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AD34DC55-E80B-49CF-A9E7-E92A3344AB0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F817B644-46E0-4874-8B2A-29A19663A0D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DF727A25-77B3-467E-80AA-72599073E3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8FB3978-8071-6A4A-BCD0-E327E9870B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2044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orient="horz" pos="2828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B54D2430-5E30-4831-9D2C-A3ABFEB23A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2C232D2C-F4B9-45D5-AD68-A4F18419188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96571FD5-A86C-4B93-BC84-347668B986A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CBBF4B1A-5C5F-4934-A0FE-ABF3029C3B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1A61384-CC6B-8D49-862E-AFC7F823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6240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FF7CB893-ACDD-4BB0-BC38-42EE020F3CA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7FD265D2-2064-42AD-838B-312D03F08D0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7EE3BA67-9DF6-413F-A0AA-4A4C9D1C000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3BE80059-ABCE-424A-BF38-C05EF8156A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64D043F-8789-0248-A98A-F359DBA723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EF6FA21-336A-F647-B102-51992C59D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603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B54D2430-5E30-4831-9D2C-A3ABFEB23A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3D647285-0A70-4B0F-A4C8-541863FDE5C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77D9EE39-E56E-4D83-99EB-1D9D8F3A422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DB70ECA8-6881-4CCD-BC17-AE4B79470A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4C3CA4E-7F21-304D-9F4A-8B07248A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7F40858-2CD7-FE45-A2F8-0FDCC2F29C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742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82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-line Title, 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3D647285-0A70-4B0F-A4C8-541863FDE5C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77D9EE39-E56E-4D83-99EB-1D9D8F3A422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DB70ECA8-6881-4CCD-BC17-AE4B79470A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44E4E7-45AA-3E4A-95AB-894672A419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6388" y="2242037"/>
            <a:ext cx="4049603" cy="223996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6415DFC-9328-B14E-A285-03ABEF15552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770438" y="2242036"/>
            <a:ext cx="4049712" cy="22399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90044A0-A316-E247-A000-7A157FEF2E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27099E3C-EACD-DE47-9BC7-99AC4CB611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971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82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3EF3E35-7BAC-4DAC-BF73-B39646774A9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E0521D8-6A60-4405-94E6-87B45B43D5AB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4F3790A2-3ED4-476F-AF15-FF864ED228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FA1B33D0-BDFD-A646-8606-99083F58B0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3155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82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0D8D745-A917-4544-B52C-C167B938FC8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18736158-736B-4C99-AE3E-5DE67DF6BB4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5B403315-6CB3-4D1B-932F-9111D4E0AC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7EA66CC-1E16-FA43-950B-42C28BA0C1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1501E54-557F-9B4F-AA23-CC2DB54C46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166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82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3564000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81D067FA-704F-4565-BD79-FEDF669F1EF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E393F749-AC7C-4FC3-8474-84925B26C13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CDF99922-1635-4F71-88B4-1E28F3F26A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13FA47A-9E60-7C45-BAC1-5BB4D7BFA8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8881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67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orient="horz" pos="2845" userDrawn="1">
          <p15:clr>
            <a:srgbClr val="FBAE40"/>
          </p15:clr>
        </p15:guide>
        <p15:guide id="4" pos="19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C919A1E-AF03-4E65-AB90-7B16340F5AF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1D93099D-53F9-451B-BF59-BB728B4000D5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CD7FB87-9E67-43F8-AAED-2A70B27779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20018B4-4626-1A4B-9344-746CC8AD38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125F03B-012D-5B4A-BC3C-5084689584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3623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356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79A5DEB5-22C5-476C-A468-B2DD9C35F64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21EBDCD7-77A5-4BC7-96F7-DED46AF71ED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3504EB2-1848-44C8-9FAD-B72B04C0D8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54DC2FC-5160-BB48-8152-2941FC5777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F615AB5E-0C86-BB44-A5E2-E04F5E251F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291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orient="horz" pos="2845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B63F7A3-D2B3-45F4-BD1B-57C8EA14999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8AC47872-D543-4BEF-BA7A-CB53103BE82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EE9AE11-EE74-483E-A73A-9C916D29CA6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31DA9F3-AC85-6A4E-BE52-E8DB763958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8049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53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Two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3AAC17B3-09B8-46B1-86DA-C442998FCF4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AE7CD3C6-BAEE-46A0-B9A3-D5C64251D7A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5243F8BA-4DDF-4B73-ADD4-92881531B26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AC1E16F-74C5-F849-A8D3-197AB67107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81748EB0-AF6A-954E-80B0-F1F7430201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A8CD73C-7723-E14B-85A6-38A5D52880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71BFF13-D877-F74E-A5B0-A85CEE173C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800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orient="horz" pos="2539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8F719EB-2A7D-4C10-A9AD-0BBE86E0A48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CA2E85CE-3AE3-4AA3-A5BD-94D69F59F7A2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F37F3403-5329-4785-8644-DEA2BBBC78A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896D6C5-1818-EE46-BC2E-2EB5D519522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39C7963-93F6-3C4E-8554-C1DB9E01CD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D853B77-D0ED-5E42-8937-A010E9A288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3406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81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Two-column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AAAA88FF-220D-4AB3-8B0B-A6CD876FFE5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FF182B43-455B-4FEE-A520-1F6EAE41101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4D5B65EE-5102-41C9-B44A-138C2047366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2CAD367-C7CD-7F4E-8AE4-1B9579E3A2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477D866E-2E81-AB4C-9A05-F09D4751D4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09EF25C3-C469-4A4F-8D0F-1D7FB7AEA8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4521330D-F5C7-554D-8E32-F75B8231D9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369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81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1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5101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4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59B239F7-4580-4877-A474-73AB5A8C1A0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D2198827-0937-46D7-814E-35835DBBB39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F4DA6BB4-B5F8-4CFD-A8CC-C91F91FD62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11/11/2022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5982340-1903-2B4A-9E4E-2021DF377C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7381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81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37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3"/>
            </p:custDataLst>
          </p:nvPr>
        </p:nvGraphicFramePr>
        <p:xfrm>
          <a:off x="1619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34" imgW="360" imgH="360" progId="">
                  <p:embed/>
                </p:oleObj>
              </mc:Choice>
              <mc:Fallback>
                <p:oleObj name="think-cell Slide" r:id="rId3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5991" y="270000"/>
            <a:ext cx="8514009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5991" y="945000"/>
            <a:ext cx="8514009" cy="351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5991" y="4751461"/>
            <a:ext cx="1296000" cy="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lang="en-GB" sz="450" smtClean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 dirty="0"/>
              <a:t>Page </a:t>
            </a:r>
            <a:fld id="{72A704F9-61CA-4770-B270-3EB3A3A14010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5E89B35-29B3-DC47-93BE-21746182294B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201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741" r:id="rId2"/>
    <p:sldLayoutId id="2147483742" r:id="rId3"/>
    <p:sldLayoutId id="2147483743" r:id="rId4"/>
    <p:sldLayoutId id="2147483676" r:id="rId5"/>
    <p:sldLayoutId id="2147483744" r:id="rId6"/>
    <p:sldLayoutId id="2147483733" r:id="rId7"/>
    <p:sldLayoutId id="2147483745" r:id="rId8"/>
    <p:sldLayoutId id="2147483738" r:id="rId9"/>
    <p:sldLayoutId id="2147483750" r:id="rId10"/>
    <p:sldLayoutId id="2147483756" r:id="rId11"/>
    <p:sldLayoutId id="2147483757" r:id="rId12"/>
    <p:sldLayoutId id="2147483740" r:id="rId13"/>
    <p:sldLayoutId id="2147483751" r:id="rId14"/>
    <p:sldLayoutId id="2147483734" r:id="rId15"/>
    <p:sldLayoutId id="2147483735" r:id="rId16"/>
    <p:sldLayoutId id="2147483752" r:id="rId17"/>
    <p:sldLayoutId id="2147483753" r:id="rId18"/>
    <p:sldLayoutId id="2147483739" r:id="rId19"/>
    <p:sldLayoutId id="2147483747" r:id="rId20"/>
    <p:sldLayoutId id="2147483746" r:id="rId21"/>
    <p:sldLayoutId id="2147483748" r:id="rId22"/>
    <p:sldLayoutId id="2147483736" r:id="rId23"/>
    <p:sldLayoutId id="2147483737" r:id="rId24"/>
    <p:sldLayoutId id="2147483754" r:id="rId25"/>
    <p:sldLayoutId id="2147483755" r:id="rId26"/>
    <p:sldLayoutId id="2147483758" r:id="rId27"/>
    <p:sldLayoutId id="2147483678" r:id="rId28"/>
    <p:sldLayoutId id="2147483749" r:id="rId29"/>
    <p:sldLayoutId id="2147483679" r:id="rId30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 i="0" baseline="0">
          <a:solidFill>
            <a:schemeClr val="tx1"/>
          </a:solidFill>
          <a:latin typeface="+mj-lt"/>
          <a:ea typeface="MS PGothic" pitchFamily="34" charset="-128"/>
          <a:cs typeface="MS PGothic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186300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405000" indent="-203597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607219" indent="-19883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800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810816" indent="-202406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800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1014413" indent="-202406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800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13573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6pPr>
      <a:lvl7pPr marL="17002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7pPr>
      <a:lvl8pPr marL="20431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8pPr>
      <a:lvl9pPr marL="23860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rcelormittal.alertline.eu/" TargetMode="Externa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hyperlink" Target="mailto:InternaRevizijaBiH.hotmail@mittalsteel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8688E06A-9395-9D49-A46E-4F735FF38A6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54"/>
          <a:stretch/>
        </p:blipFill>
        <p:spPr>
          <a:xfrm>
            <a:off x="0" y="1"/>
            <a:ext cx="9143999" cy="5143499"/>
          </a:xfrm>
          <a:prstGeom prst="rect">
            <a:avLst/>
          </a:prstGeom>
        </p:spPr>
      </p:pic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677FC11A-C1B8-4340-873E-6B434A1F319C}"/>
              </a:ext>
            </a:extLst>
          </p:cNvPr>
          <p:cNvSpPr txBox="1">
            <a:spLocks/>
          </p:cNvSpPr>
          <p:nvPr/>
        </p:nvSpPr>
        <p:spPr>
          <a:xfrm>
            <a:off x="539666" y="197515"/>
            <a:ext cx="8007434" cy="4755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 err="1">
                <a:latin typeface="Arial" panose="020B0604020202020204" pitchFamily="34" charset="0"/>
                <a:cs typeface="Arial" panose="020B0604020202020204" pitchFamily="34" charset="0"/>
              </a:rPr>
              <a:t>ArcelorM</a:t>
            </a:r>
            <a:r>
              <a:rPr lang="sr-Latn-BA" sz="1800" b="1" dirty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sz="1800" b="1" dirty="0" err="1">
                <a:latin typeface="Arial" panose="020B0604020202020204" pitchFamily="34" charset="0"/>
                <a:cs typeface="Arial" panose="020B0604020202020204" pitchFamily="34" charset="0"/>
              </a:rPr>
              <a:t>ttal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 Fraud Prevention and Reporting Policy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56C3B6A-1DB6-F846-9982-C945CE9692A2}"/>
              </a:ext>
            </a:extLst>
          </p:cNvPr>
          <p:cNvSpPr txBox="1">
            <a:spLocks/>
          </p:cNvSpPr>
          <p:nvPr/>
        </p:nvSpPr>
        <p:spPr bwMode="auto">
          <a:xfrm>
            <a:off x="191690" y="684650"/>
            <a:ext cx="8660210" cy="42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562" indent="0" defTabSz="914400">
              <a:spcBef>
                <a:spcPts val="0"/>
              </a:spcBef>
              <a:buFontTx/>
              <a:buNone/>
            </a:pPr>
            <a:r>
              <a:rPr lang="en-US" sz="1300" kern="0" dirty="0">
                <a:solidFill>
                  <a:schemeClr val="bg1"/>
                </a:solidFill>
              </a:rPr>
              <a:t>ArcelorMittal has </a:t>
            </a:r>
            <a:r>
              <a:rPr lang="en-US" sz="1300" b="1" kern="0" dirty="0">
                <a:solidFill>
                  <a:schemeClr val="bg1"/>
                </a:solidFill>
              </a:rPr>
              <a:t>"zero tolerance" </a:t>
            </a:r>
            <a:r>
              <a:rPr lang="en-US" sz="1300" kern="0" dirty="0">
                <a:solidFill>
                  <a:schemeClr val="bg1"/>
                </a:solidFill>
              </a:rPr>
              <a:t>for committing and keeping silent about illegal or fraudulent acts.</a:t>
            </a:r>
            <a:endParaRPr lang="sr-Latn-BA" sz="1300" kern="0" dirty="0">
              <a:solidFill>
                <a:schemeClr val="bg1"/>
              </a:solidFill>
            </a:endParaRPr>
          </a:p>
          <a:p>
            <a:pPr marL="562" indent="0" defTabSz="914400">
              <a:spcBef>
                <a:spcPts val="0"/>
              </a:spcBef>
              <a:buFontTx/>
              <a:buNone/>
            </a:pPr>
            <a:r>
              <a:rPr lang="en-US" sz="1300" kern="0" dirty="0">
                <a:solidFill>
                  <a:schemeClr val="bg1"/>
                </a:solidFill>
              </a:rPr>
              <a:t>All employees have </a:t>
            </a:r>
            <a:r>
              <a:rPr lang="en-US" sz="1300" b="1" kern="0" dirty="0">
                <a:solidFill>
                  <a:schemeClr val="bg1"/>
                </a:solidFill>
              </a:rPr>
              <a:t>a responsibility to report their concerns or information </a:t>
            </a:r>
            <a:r>
              <a:rPr lang="en-US" sz="1300" kern="0" dirty="0">
                <a:solidFill>
                  <a:schemeClr val="bg1"/>
                </a:solidFill>
              </a:rPr>
              <a:t>they have received about </a:t>
            </a:r>
            <a:endParaRPr lang="sr-Latn-BA" sz="1300" kern="0" dirty="0">
              <a:solidFill>
                <a:schemeClr val="bg1"/>
              </a:solidFill>
            </a:endParaRPr>
          </a:p>
          <a:p>
            <a:pPr marL="562" indent="0" defTabSz="914400">
              <a:spcBef>
                <a:spcPts val="0"/>
              </a:spcBef>
              <a:buFontTx/>
              <a:buNone/>
            </a:pPr>
            <a:r>
              <a:rPr lang="sr-Latn-BA" sz="1300" kern="0" dirty="0">
                <a:solidFill>
                  <a:schemeClr val="bg1"/>
                </a:solidFill>
              </a:rPr>
              <a:t>p</a:t>
            </a:r>
            <a:r>
              <a:rPr lang="en-US" sz="1300" kern="0" dirty="0" err="1">
                <a:solidFill>
                  <a:schemeClr val="bg1"/>
                </a:solidFill>
              </a:rPr>
              <a:t>ossible</a:t>
            </a:r>
            <a:r>
              <a:rPr lang="sr-Latn-BA" sz="1300" kern="0" dirty="0">
                <a:solidFill>
                  <a:schemeClr val="bg1"/>
                </a:solidFill>
              </a:rPr>
              <a:t> </a:t>
            </a:r>
            <a:r>
              <a:rPr lang="en-US" sz="1300" kern="0" dirty="0">
                <a:solidFill>
                  <a:schemeClr val="bg1"/>
                </a:solidFill>
              </a:rPr>
              <a:t>acts of fraud or corruption.</a:t>
            </a:r>
            <a:endParaRPr lang="bs-Latn-BA" sz="1300" kern="0" dirty="0">
              <a:solidFill>
                <a:schemeClr val="bg1"/>
              </a:solidFill>
            </a:endParaRPr>
          </a:p>
          <a:p>
            <a:pPr marL="562" indent="0" defTabSz="914400">
              <a:spcBef>
                <a:spcPts val="0"/>
              </a:spcBef>
              <a:buFontTx/>
              <a:buNone/>
            </a:pPr>
            <a:r>
              <a:rPr lang="en-US" sz="1300" kern="0" dirty="0">
                <a:solidFill>
                  <a:schemeClr val="bg1"/>
                </a:solidFill>
              </a:rPr>
              <a:t>The Forensic Service will investigate all serious cases reported. ArcelorMittal will take the necessary </a:t>
            </a:r>
            <a:endParaRPr lang="sr-Latn-BA" sz="1300" kern="0" dirty="0">
              <a:solidFill>
                <a:schemeClr val="bg1"/>
              </a:solidFill>
            </a:endParaRPr>
          </a:p>
          <a:p>
            <a:pPr marL="562" indent="0" defTabSz="914400">
              <a:spcBef>
                <a:spcPts val="0"/>
              </a:spcBef>
              <a:buFontTx/>
              <a:buNone/>
            </a:pPr>
            <a:r>
              <a:rPr lang="en-US" sz="1300" kern="0" dirty="0">
                <a:solidFill>
                  <a:schemeClr val="bg1"/>
                </a:solidFill>
              </a:rPr>
              <a:t>Measures</a:t>
            </a:r>
            <a:r>
              <a:rPr lang="sr-Latn-BA" sz="1300" kern="0" dirty="0">
                <a:solidFill>
                  <a:schemeClr val="bg1"/>
                </a:solidFill>
              </a:rPr>
              <a:t> </a:t>
            </a:r>
            <a:r>
              <a:rPr lang="en-US" sz="1300" b="1" kern="0" dirty="0">
                <a:solidFill>
                  <a:schemeClr val="bg1"/>
                </a:solidFill>
              </a:rPr>
              <a:t>for the protection of employees </a:t>
            </a:r>
            <a:r>
              <a:rPr lang="en-US" sz="1300" kern="0" dirty="0">
                <a:solidFill>
                  <a:schemeClr val="bg1"/>
                </a:solidFill>
              </a:rPr>
              <a:t>who in good faith report irregularities using the whistleblowing</a:t>
            </a:r>
            <a:endParaRPr lang="sr-Latn-BA" sz="1300" kern="0" dirty="0">
              <a:solidFill>
                <a:schemeClr val="bg1"/>
              </a:solidFill>
            </a:endParaRPr>
          </a:p>
          <a:p>
            <a:pPr marL="562" indent="0" defTabSz="914400">
              <a:spcBef>
                <a:spcPts val="0"/>
              </a:spcBef>
              <a:buFontTx/>
              <a:buNone/>
            </a:pPr>
            <a:r>
              <a:rPr lang="en-US" sz="1300" kern="0" dirty="0">
                <a:solidFill>
                  <a:schemeClr val="bg1"/>
                </a:solidFill>
              </a:rPr>
              <a:t>process, from </a:t>
            </a:r>
            <a:r>
              <a:rPr lang="en-US" sz="1300" kern="0" dirty="0" err="1">
                <a:solidFill>
                  <a:schemeClr val="bg1"/>
                </a:solidFill>
              </a:rPr>
              <a:t>eitherwhat</a:t>
            </a:r>
            <a:r>
              <a:rPr lang="en-US" sz="1300" kern="0" dirty="0">
                <a:solidFill>
                  <a:schemeClr val="bg1"/>
                </a:solidFill>
              </a:rPr>
              <a:t> kind of revenge by managers or other persons</a:t>
            </a:r>
            <a:endParaRPr lang="bs-Latn-BA" sz="1300" kern="0" dirty="0">
              <a:solidFill>
                <a:schemeClr val="bg1"/>
              </a:solidFill>
            </a:endParaRPr>
          </a:p>
          <a:p>
            <a:pPr marL="562" indent="0" defTabSz="914400">
              <a:spcBef>
                <a:spcPts val="0"/>
              </a:spcBef>
              <a:buFontTx/>
              <a:buNone/>
            </a:pPr>
            <a:endParaRPr lang="en-GB" sz="1300" kern="0" dirty="0">
              <a:solidFill>
                <a:schemeClr val="bg1"/>
              </a:solidFill>
            </a:endParaRPr>
          </a:p>
          <a:p>
            <a:pPr marL="562" indent="0" defTabSz="914400">
              <a:spcBef>
                <a:spcPts val="0"/>
              </a:spcBef>
              <a:buFontTx/>
              <a:buNone/>
            </a:pPr>
            <a:r>
              <a:rPr lang="en-US" sz="1400" b="1" kern="0" dirty="0">
                <a:solidFill>
                  <a:schemeClr val="bg1"/>
                </a:solidFill>
              </a:rPr>
              <a:t>HOW TO REPORT CASES OF CORRUPTION IN BIH </a:t>
            </a:r>
            <a:r>
              <a:rPr lang="bs-Latn-BA" sz="1400" b="1" kern="0" dirty="0">
                <a:solidFill>
                  <a:schemeClr val="bg1"/>
                </a:solidFill>
              </a:rPr>
              <a:t>:</a:t>
            </a:r>
          </a:p>
          <a:p>
            <a:pPr marL="562" indent="0" defTabSz="914400">
              <a:spcBef>
                <a:spcPts val="0"/>
              </a:spcBef>
              <a:buFontTx/>
              <a:buNone/>
            </a:pPr>
            <a:endParaRPr lang="bs-Latn-BA" sz="1400" b="1" kern="0" dirty="0">
              <a:solidFill>
                <a:schemeClr val="bg1"/>
              </a:solidFill>
            </a:endParaRPr>
          </a:p>
          <a:p>
            <a:pPr marL="562" indent="0" defTabSz="914400">
              <a:spcBef>
                <a:spcPts val="0"/>
              </a:spcBef>
              <a:buFontTx/>
              <a:buNone/>
            </a:pPr>
            <a:r>
              <a:rPr lang="bs-Latn-BA" sz="1400" b="1" kern="0" dirty="0">
                <a:solidFill>
                  <a:schemeClr val="bg1"/>
                </a:solidFill>
              </a:rPr>
              <a:t>Global contact line: </a:t>
            </a:r>
            <a:r>
              <a:rPr lang="bs-Latn-BA" sz="1400" kern="0" dirty="0">
                <a:solidFill>
                  <a:schemeClr val="bg1"/>
                </a:solidFill>
              </a:rPr>
              <a:t>+1 704 943 0140            </a:t>
            </a:r>
            <a:r>
              <a:rPr lang="bs-Latn-BA" sz="1400" b="1" kern="0" dirty="0">
                <a:solidFill>
                  <a:schemeClr val="bg1"/>
                </a:solidFill>
              </a:rPr>
              <a:t>Local contact line: </a:t>
            </a:r>
            <a:r>
              <a:rPr lang="bs-Latn-BA" sz="1400" kern="0" dirty="0">
                <a:solidFill>
                  <a:schemeClr val="bg1"/>
                </a:solidFill>
              </a:rPr>
              <a:t>052 244 133</a:t>
            </a:r>
          </a:p>
          <a:p>
            <a:pPr marL="562" indent="0" defTabSz="914400">
              <a:buFontTx/>
              <a:buNone/>
            </a:pPr>
            <a:r>
              <a:rPr lang="bs-Latn-BA" sz="1400" b="1" kern="0" dirty="0">
                <a:solidFill>
                  <a:schemeClr val="bg1"/>
                </a:solidFill>
              </a:rPr>
              <a:t>Globaln e-mail adress:</a:t>
            </a:r>
            <a:r>
              <a:rPr lang="bs-Latn-BA" sz="1400" kern="0" dirty="0">
                <a:solidFill>
                  <a:schemeClr val="bg1"/>
                </a:solidFill>
              </a:rPr>
              <a:t>	                  </a:t>
            </a:r>
            <a:r>
              <a:rPr lang="bs-Latn-BA" sz="1400" b="1" kern="0" dirty="0">
                <a:solidFill>
                  <a:schemeClr val="bg1"/>
                </a:solidFill>
              </a:rPr>
              <a:t>Local e-mail adress: </a:t>
            </a:r>
          </a:p>
          <a:p>
            <a:pPr marL="562" indent="0" defTabSz="914400">
              <a:buFontTx/>
              <a:buNone/>
            </a:pPr>
            <a:r>
              <a:rPr lang="bs-Latn-BA" sz="1400" kern="0" dirty="0">
                <a:solidFill>
                  <a:schemeClr val="bg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arcelormittal.alertline.eu</a:t>
            </a:r>
            <a:r>
              <a:rPr lang="bs-Latn-BA" sz="1400" kern="0" dirty="0">
                <a:solidFill>
                  <a:schemeClr val="bg1"/>
                </a:solidFill>
              </a:rPr>
              <a:t>	                  </a:t>
            </a:r>
            <a:r>
              <a:rPr lang="bs-Latn-BA" sz="1400" kern="0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ternaRevizijaBiH.hotmail@mittalsteel.com</a:t>
            </a:r>
            <a:endParaRPr lang="bs-Latn-BA" sz="1400" kern="0" dirty="0">
              <a:solidFill>
                <a:schemeClr val="bg1"/>
              </a:solidFill>
            </a:endParaRPr>
          </a:p>
          <a:p>
            <a:pPr marL="562" indent="0" defTabSz="914400">
              <a:buFontTx/>
              <a:buNone/>
            </a:pPr>
            <a:r>
              <a:rPr lang="bs-Latn-BA" sz="1400" kern="0" dirty="0">
                <a:solidFill>
                  <a:schemeClr val="bg1"/>
                </a:solidFill>
              </a:rPr>
              <a:t>				</a:t>
            </a:r>
            <a:endParaRPr lang="en-GB" sz="1400" kern="0" dirty="0">
              <a:solidFill>
                <a:schemeClr val="bg1"/>
              </a:solidFill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5C65656-EA50-1747-812C-1113CCC7F34F}"/>
              </a:ext>
            </a:extLst>
          </p:cNvPr>
          <p:cNvSpPr txBox="1">
            <a:spLocks/>
          </p:cNvSpPr>
          <p:nvPr/>
        </p:nvSpPr>
        <p:spPr bwMode="auto">
          <a:xfrm>
            <a:off x="305991" y="48195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186928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45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408384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45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60841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45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812006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None/>
              <a:defRPr sz="45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defTabSz="914400"/>
            <a:endParaRPr lang="en-GB" kern="0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1CEA876-3655-473C-8A00-ADD4BB706CF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04877" y="4106471"/>
            <a:ext cx="1656766" cy="862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9109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7_PresentationV8">
  <a:themeElements>
    <a:clrScheme name="AM 2022">
      <a:dk1>
        <a:srgbClr val="414141"/>
      </a:dk1>
      <a:lt1>
        <a:srgbClr val="FFFFFF"/>
      </a:lt1>
      <a:dk2>
        <a:srgbClr val="FF3700"/>
      </a:dk2>
      <a:lt2>
        <a:srgbClr val="0070C0"/>
      </a:lt2>
      <a:accent1>
        <a:srgbClr val="460A78"/>
      </a:accent1>
      <a:accent2>
        <a:srgbClr val="BE2878"/>
      </a:accent2>
      <a:accent3>
        <a:srgbClr val="E63C41"/>
      </a:accent3>
      <a:accent4>
        <a:srgbClr val="F58746"/>
      </a:accent4>
      <a:accent5>
        <a:srgbClr val="FFBE6E"/>
      </a:accent5>
      <a:accent6>
        <a:srgbClr val="EAEAEA"/>
      </a:accent6>
      <a:hlink>
        <a:srgbClr val="505050"/>
      </a:hlink>
      <a:folHlink>
        <a:srgbClr val="414141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rcelorMittal template 16x9" id="{2080C811-E281-4F53-A338-B1B429535C64}" vid="{EAE1C29F-A62A-497F-AC0B-627198192CC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51</TotalTime>
  <Words>145</Words>
  <Application>Microsoft Office PowerPoint</Application>
  <PresentationFormat>On-screen Show (16:9)</PresentationFormat>
  <Paragraphs>1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7_PresentationV8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uden, Ian</dc:creator>
  <cp:lastModifiedBy>Zoric, Tatjana</cp:lastModifiedBy>
  <cp:revision>44</cp:revision>
  <dcterms:created xsi:type="dcterms:W3CDTF">2019-08-07T16:42:59Z</dcterms:created>
  <dcterms:modified xsi:type="dcterms:W3CDTF">2022-11-11T16:20:47Z</dcterms:modified>
</cp:coreProperties>
</file>